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3:46.464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5:13:46.464" v="3" actId="27918"/>
        <pc:sldMkLst>
          <pc:docMk/>
          <pc:sldMk cId="3158517815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BAE4-454B-A7C0-F7C1FE3C397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842801000000001</c:v>
                </c:pt>
                <c:pt idx="1">
                  <c:v>16.624806</c:v>
                </c:pt>
                <c:pt idx="2">
                  <c:v>14.843216999999999</c:v>
                </c:pt>
                <c:pt idx="3">
                  <c:v>16.882899999999999</c:v>
                </c:pt>
                <c:pt idx="4">
                  <c:v>17.179015</c:v>
                </c:pt>
                <c:pt idx="5">
                  <c:v>17.63063</c:v>
                </c:pt>
                <c:pt idx="6">
                  <c:v>20.640112999999999</c:v>
                </c:pt>
                <c:pt idx="7">
                  <c:v>22.394874000000002</c:v>
                </c:pt>
                <c:pt idx="8">
                  <c:v>20.828085999999999</c:v>
                </c:pt>
                <c:pt idx="9">
                  <c:v>20.607158999999999</c:v>
                </c:pt>
                <c:pt idx="10">
                  <c:v>24.154879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BAE4-454B-A7C0-F7C1FE3C397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5.303774000000001</c:v>
                </c:pt>
                <c:pt idx="1">
                  <c:v>16.884143000000002</c:v>
                </c:pt>
                <c:pt idx="2">
                  <c:v>17.496600999999998</c:v>
                </c:pt>
                <c:pt idx="3">
                  <c:v>16.113721000000002</c:v>
                </c:pt>
                <c:pt idx="4">
                  <c:v>14.807741999999999</c:v>
                </c:pt>
                <c:pt idx="5">
                  <c:v>12.384786999999999</c:v>
                </c:pt>
                <c:pt idx="6">
                  <c:v>13.208899000000001</c:v>
                </c:pt>
                <c:pt idx="7">
                  <c:v>10.993043999999999</c:v>
                </c:pt>
                <c:pt idx="8">
                  <c:v>10.898840999999999</c:v>
                </c:pt>
                <c:pt idx="9">
                  <c:v>10.427787</c:v>
                </c:pt>
                <c:pt idx="10">
                  <c:v>7.11553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4098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86939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net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</a:t>
          </a:r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tonnes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Transalpine rail freigh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0514217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ffic volume for all railway undertakings on SBB infrastructure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41F5C5F-B63D-4BF3-A194-8A06AC2C89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nsalpine rail freigh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alpine rail freight.</dc:title>
  <dc:creator>Meyer Raphael (KOM-PGA-VSF)</dc:creator>
  <cp:lastModifiedBy>Weigel Stefan (PAR-EPS)</cp:lastModifiedBy>
  <cp:revision>60</cp:revision>
  <dcterms:created xsi:type="dcterms:W3CDTF">2020-09-30T11:00:09Z</dcterms:created>
  <dcterms:modified xsi:type="dcterms:W3CDTF">2026-03-03T13:4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